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sldIdLst>
    <p:sldId id="256" r:id="rId2"/>
    <p:sldId id="272" r:id="rId3"/>
    <p:sldId id="257" r:id="rId4"/>
    <p:sldId id="258" r:id="rId5"/>
    <p:sldId id="271" r:id="rId6"/>
    <p:sldId id="274" r:id="rId7"/>
    <p:sldId id="275" r:id="rId8"/>
    <p:sldId id="273" r:id="rId9"/>
  </p:sldIdLst>
  <p:sldSz cx="12192000" cy="6858000"/>
  <p:notesSz cx="6858000" cy="9144000"/>
  <p:embeddedFontLst>
    <p:embeddedFont>
      <p:font typeface="Ubuntu" panose="020B0504030602030204" pitchFamily="34" charset="0"/>
      <p:regular r:id="rId10"/>
      <p:bold r:id="rId11"/>
      <p:italic r:id="rId12"/>
      <p:boldItalic r:id="rId13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ORK HERE" id="{16DE5BC4-A360-44FF-8703-91FC934D5E1D}">
          <p14:sldIdLst>
            <p14:sldId id="256"/>
            <p14:sldId id="272"/>
          </p14:sldIdLst>
        </p14:section>
        <p14:section name="PROJECT - Ready" id="{CE728476-E789-45F2-8178-CD0377B82040}">
          <p14:sldIdLst>
            <p14:sldId id="257"/>
            <p14:sldId id="258"/>
            <p14:sldId id="271"/>
          </p14:sldIdLst>
        </p14:section>
        <p14:section name="Example Use" id="{4252B12A-06B6-4A97-8B8F-1B7654E5D008}">
          <p14:sldIdLst>
            <p14:sldId id="274"/>
            <p14:sldId id="275"/>
          </p14:sldIdLst>
        </p14:section>
        <p14:section name="ASSETS" id="{EF9BB258-B6DC-474B-B181-DDA956C9A675}">
          <p14:sldIdLst>
            <p14:sldId id="27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4040"/>
    <a:srgbClr val="EC4242"/>
    <a:srgbClr val="8C0E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19" autoAdjust="0"/>
    <p:restoredTop sz="94660"/>
  </p:normalViewPr>
  <p:slideViewPr>
    <p:cSldViewPr snapToGrid="0">
      <p:cViewPr>
        <p:scale>
          <a:sx n="75" d="100"/>
          <a:sy n="75" d="100"/>
        </p:scale>
        <p:origin x="1795" y="105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font" Target="fonts/font1.fntdata"/><Relationship Id="rId19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4E63C-9132-1815-23EE-525A9047B2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0CFFCB-EE51-30B1-7FAF-7F0AAE4EE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BF334A-A1D2-86D9-765C-7D276E07F4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73A976-3E72-F49E-A243-7367C098F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7F4A9E-F7B8-E7AE-7849-5A4D4A48B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0838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7BFF64-C3A1-E05F-6648-9E3789EAC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3617B1-94FA-2068-81D0-F6F87D121D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4B6581-78AA-A4C3-4920-B0D8F1CE93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9F47B6-212D-4D8C-99E6-7BE607CF2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A4FA57-FAD6-6901-3B6F-AEA41D902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0881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F0C7F6B-397A-64DD-15AB-1047636944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97728EA-395D-B8DF-7FAE-640B33BB56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393F05-2B1C-BF33-02BC-F17F89AD3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42C03-5827-9FF2-6C01-4A7262236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89191-64AE-D809-F9D5-6D3DB7F03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378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197FC0-9C6F-8CB4-0A29-582BB38E9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BD9D79-7C47-EC9E-97C2-9AF5B67BE2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7D39A4-69DD-D72C-C619-0101B1B4AC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F6900C-E5B7-1463-E8BC-B3E3EDC1F6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210292-07D7-B8CB-EF8A-8F153CE37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9925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CE2096-6E77-A279-96D7-8EA69B1A9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7CE332-206E-B3B0-02C9-E0FA08B3A9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363899-ED22-0C61-8452-452222B1B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C79427-9192-3919-8D05-5242B3023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871D57-B55B-0138-FE8A-C798EB26E0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914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1159EE-93EE-9753-84CF-79B69DB23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FE4910-1A4A-558C-B998-FFE66ADC4F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CDC5BD-0613-3D0A-66EE-3CE74D1DAE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E3E841-9035-1D6B-3981-7CCF9620E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8DA145-6FDB-9DD3-C220-110B2871B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D3068F-C669-D66A-FCA1-5E6CD3BC6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4186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449EA-7AE8-463B-E6F5-A1FCFAD10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A7977D-E0E9-32BF-CFC4-510DEBB72F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FC3AEC-E6DC-EE7F-94A1-A07D5FEA80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8D18E1-42A9-B0CC-7B02-68514505FF2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EBA0287-81CA-CB26-421E-C931CE38A5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B7E5C6A-5080-D986-9AC7-34EC8261D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B79D19D-4D66-22A4-34ED-0314CAAE5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118CBD0-DC00-82AB-9C12-69ED17F34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5480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68C4E2-957A-E472-11EC-5CE1ED237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54DCA3-EFA5-AB6D-6E2E-993A6FB3BB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1E1F6F-DB9E-B507-C33E-321E14E9C3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3EDA1B-76FC-90D9-C0BE-C63019060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4729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A8B139-9530-5503-7426-988E63A85D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AE6B5-CA4B-B648-BA31-7C2AC0C55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B5D82A-9D5A-5EFD-B8E6-F5F48ABB7F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530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571E7-25FF-2A73-C5BF-0E7358069A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253251-0F7D-B046-ADD2-B76170BD63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FA33E-6A07-A939-A1E2-E0722CC11B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917EB2-9331-8FB2-EE6A-7B04EE4263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FBA39A-79BE-C6DA-7BB8-F3D15D760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B73952-2391-6DD9-4E74-6262FF597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255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088BAB-1F1C-8082-2F78-9CE4C2FD2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114338F-64F9-20E5-46B3-38CB9085CCA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438F4-F649-2616-7801-53E19EAC6A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B4E86F-1EE7-813F-2C15-DF4FC4B4F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73CC86-3281-400E-FAD1-F342DEE23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156CA4-3CA0-8D3C-06A7-24F3B71A7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4920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0F30A1C-53C4-DBD5-BB7B-B3AE840C4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6F7F22-0360-6B82-473E-B668E541B6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D772EF-1DEF-E9C5-7C30-BCED96A87A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69B71F-F1F1-4CF8-BB4C-CA506C353124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072C66-FBB0-099D-62C0-10A72A8F09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C45F74-3619-6D98-DAAE-8287CCCF42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510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" Target="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" Target="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" Target="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82820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0">
        <p:fade/>
      </p:transition>
    </mc:Choice>
    <mc:Fallback>
      <p:transition spd="med" advClick="0" advTm="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941715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7961792-D8C2-5449-A485-D550CF3A8CFA}"/>
              </a:ext>
            </a:extLst>
          </p:cNvPr>
          <p:cNvSpPr/>
          <p:nvPr/>
        </p:nvSpPr>
        <p:spPr>
          <a:xfrm>
            <a:off x="3440003" y="3580917"/>
            <a:ext cx="5311994" cy="460094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: Rounded Corners 6">
            <a:hlinkClick r:id="rId2" action="ppaction://hlinksldjump"/>
            <a:extLst>
              <a:ext uri="{FF2B5EF4-FFF2-40B4-BE49-F238E27FC236}">
                <a16:creationId xmlns:a16="http://schemas.microsoft.com/office/drawing/2014/main" id="{55641070-6AE3-84BD-0547-8E64B65EBAE5}"/>
              </a:ext>
            </a:extLst>
          </p:cNvPr>
          <p:cNvSpPr/>
          <p:nvPr/>
        </p:nvSpPr>
        <p:spPr>
          <a:xfrm>
            <a:off x="3538347" y="3635239"/>
            <a:ext cx="2707769" cy="35145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495228-153D-4DDD-4AC5-7FE65AF2811F}"/>
              </a:ext>
            </a:extLst>
          </p:cNvPr>
          <p:cNvSpPr txBox="1"/>
          <p:nvPr/>
        </p:nvSpPr>
        <p:spPr>
          <a:xfrm>
            <a:off x="4281240" y="2295465"/>
            <a:ext cx="36295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B8D1D1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Dark mode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B8D1D1">
                  <a:lumMod val="75000"/>
                </a:srgbClr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DD93D22-F2A7-44CC-30AC-F8BAF56F536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03707" y="5006532"/>
            <a:ext cx="1557501" cy="155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301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4.375E-6 -0.00116 L -0.07644 0.00949 L -0.12409 0.00231 L -0.19597 -0.03611 L -0.23099 -0.06458 L -0.26485 -0.10972 L -0.2806 -0.1331 L -0.29063 -0.16204 L -0.30131 -0.21343 " pathEditMode="relative" rAng="0" ptsTypes="AAAAAAAAA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065" y="-1009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utoRev="1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animScale>
                                      <p:cBhvr>
                                        <p:cTn id="11" dur="250" fill="hold"/>
                                        <p:tgtEl>
                                          <p:spTgt spid="1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71B2835-6070-2743-1393-E915C31F3C6B}"/>
              </a:ext>
            </a:extLst>
          </p:cNvPr>
          <p:cNvSpPr txBox="1"/>
          <p:nvPr/>
        </p:nvSpPr>
        <p:spPr>
          <a:xfrm>
            <a:off x="4042392" y="2295465"/>
            <a:ext cx="41072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B8D1D1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Bright mode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B8D1D1">
                  <a:lumMod val="75000"/>
                </a:srgbClr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C8ABD52-1779-7F9F-16CE-80491B4C81CD}"/>
              </a:ext>
            </a:extLst>
          </p:cNvPr>
          <p:cNvSpPr/>
          <p:nvPr/>
        </p:nvSpPr>
        <p:spPr>
          <a:xfrm>
            <a:off x="3440003" y="3580917"/>
            <a:ext cx="5311994" cy="46009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: Rounded Corners 13">
            <a:hlinkClick r:id="rId2" action="ppaction://hlinksldjump"/>
            <a:extLst>
              <a:ext uri="{FF2B5EF4-FFF2-40B4-BE49-F238E27FC236}">
                <a16:creationId xmlns:a16="http://schemas.microsoft.com/office/drawing/2014/main" id="{18967BF6-F3A5-9A36-60B7-38C7931D8791}"/>
              </a:ext>
            </a:extLst>
          </p:cNvPr>
          <p:cNvSpPr/>
          <p:nvPr/>
        </p:nvSpPr>
        <p:spPr>
          <a:xfrm>
            <a:off x="5945883" y="3635239"/>
            <a:ext cx="2707769" cy="35145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6FDE18A-A097-56E3-4CBD-1C8E91CB43D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75142" y="5006532"/>
            <a:ext cx="1557501" cy="155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1729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 advClick="0" advTm="0">
        <p159:morph option="byObject"/>
      </p:transition>
    </mc:Choice>
    <mc:Fallback xmlns="">
      <p:transition spd="med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4.375E-6 -0.00093 L 0.06198 0.00949 L 0.10079 0.00254 L 0.15925 -0.03496 L 0.18763 -0.06273 L 0.21524 -0.10695 L 0.22813 -0.12986 L 0.2362 -0.15787 L 0.24506 -0.20833 " pathEditMode="relative" rAng="0" ptsTypes="AAAAAAAAA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253" y="-9861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6" presetClass="emph" presetSubtype="0" autoRev="1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animScale>
                                      <p:cBhvr>
                                        <p:cTn id="11" dur="250" fill="hold"/>
                                        <p:tgtEl>
                                          <p:spTgt spid="1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7961792-D8C2-5449-A485-D550CF3A8CFA}"/>
              </a:ext>
            </a:extLst>
          </p:cNvPr>
          <p:cNvSpPr/>
          <p:nvPr/>
        </p:nvSpPr>
        <p:spPr>
          <a:xfrm>
            <a:off x="3440003" y="3580917"/>
            <a:ext cx="5311994" cy="460094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: Rounded Corners 6">
            <a:hlinkClick r:id="rId2" action="ppaction://hlinksldjump"/>
            <a:extLst>
              <a:ext uri="{FF2B5EF4-FFF2-40B4-BE49-F238E27FC236}">
                <a16:creationId xmlns:a16="http://schemas.microsoft.com/office/drawing/2014/main" id="{55641070-6AE3-84BD-0547-8E64B65EBAE5}"/>
              </a:ext>
            </a:extLst>
          </p:cNvPr>
          <p:cNvSpPr/>
          <p:nvPr/>
        </p:nvSpPr>
        <p:spPr>
          <a:xfrm>
            <a:off x="3538347" y="3635239"/>
            <a:ext cx="2707769" cy="35145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495228-153D-4DDD-4AC5-7FE65AF2811F}"/>
              </a:ext>
            </a:extLst>
          </p:cNvPr>
          <p:cNvSpPr txBox="1"/>
          <p:nvPr/>
        </p:nvSpPr>
        <p:spPr>
          <a:xfrm>
            <a:off x="4281240" y="2295465"/>
            <a:ext cx="36295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B8D1D1">
                    <a:lumMod val="75000"/>
                  </a:srgbClr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Dark mode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B8D1D1">
                  <a:lumMod val="75000"/>
                </a:srgbClr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6200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Corner graphic">
            <a:extLst>
              <a:ext uri="{FF2B5EF4-FFF2-40B4-BE49-F238E27FC236}">
                <a16:creationId xmlns:a16="http://schemas.microsoft.com/office/drawing/2014/main" id="{43F71969-CDB5-025B-FB90-9CEAB9A016B0}"/>
              </a:ext>
            </a:extLst>
          </p:cNvPr>
          <p:cNvSpPr/>
          <p:nvPr/>
        </p:nvSpPr>
        <p:spPr>
          <a:xfrm>
            <a:off x="7074607" y="1813560"/>
            <a:ext cx="5117393" cy="5044440"/>
          </a:xfrm>
          <a:custGeom>
            <a:avLst/>
            <a:gdLst>
              <a:gd name="connsiteX0" fmla="*/ 1035252 w 4617233"/>
              <a:gd name="connsiteY0" fmla="*/ 56 h 4551410"/>
              <a:gd name="connsiteX1" fmla="*/ 4560183 w 4617233"/>
              <a:gd name="connsiteY1" fmla="*/ 56 h 4551410"/>
              <a:gd name="connsiteX2" fmla="*/ 4617351 w 4617233"/>
              <a:gd name="connsiteY2" fmla="*/ 57224 h 4551410"/>
              <a:gd name="connsiteX3" fmla="*/ 4617351 w 4617233"/>
              <a:gd name="connsiteY3" fmla="*/ 4494299 h 4551410"/>
              <a:gd name="connsiteX4" fmla="*/ 4560183 w 4617233"/>
              <a:gd name="connsiteY4" fmla="*/ 4551467 h 4551410"/>
              <a:gd name="connsiteX5" fmla="*/ 57268 w 4617233"/>
              <a:gd name="connsiteY5" fmla="*/ 4551467 h 4551410"/>
              <a:gd name="connsiteX6" fmla="*/ 118 w 4617233"/>
              <a:gd name="connsiteY6" fmla="*/ 4494299 h 4551410"/>
              <a:gd name="connsiteX7" fmla="*/ 118 w 4617233"/>
              <a:gd name="connsiteY7" fmla="*/ 1035200 h 4551410"/>
              <a:gd name="connsiteX8" fmla="*/ 1035252 w 4617233"/>
              <a:gd name="connsiteY8" fmla="*/ 56 h 4551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7233" h="4551410">
                <a:moveTo>
                  <a:pt x="1035252" y="56"/>
                </a:moveTo>
                <a:lnTo>
                  <a:pt x="4560183" y="56"/>
                </a:lnTo>
                <a:cubicBezTo>
                  <a:pt x="4591755" y="56"/>
                  <a:pt x="4617351" y="25652"/>
                  <a:pt x="4617351" y="57224"/>
                </a:cubicBezTo>
                <a:lnTo>
                  <a:pt x="4617351" y="4494299"/>
                </a:lnTo>
                <a:cubicBezTo>
                  <a:pt x="4617351" y="4525871"/>
                  <a:pt x="4591755" y="4551467"/>
                  <a:pt x="4560183" y="4551467"/>
                </a:cubicBezTo>
                <a:lnTo>
                  <a:pt x="57268" y="4551467"/>
                </a:lnTo>
                <a:cubicBezTo>
                  <a:pt x="25703" y="4551467"/>
                  <a:pt x="118" y="4525871"/>
                  <a:pt x="118" y="4494299"/>
                </a:cubicBezTo>
                <a:lnTo>
                  <a:pt x="118" y="1035200"/>
                </a:lnTo>
                <a:cubicBezTo>
                  <a:pt x="118" y="463520"/>
                  <a:pt x="463564" y="56"/>
                  <a:pt x="1035252" y="56"/>
                </a:cubicBezTo>
                <a:close/>
              </a:path>
            </a:pathLst>
          </a:custGeom>
          <a:solidFill>
            <a:srgbClr val="EC4242"/>
          </a:solidFill>
          <a:ln w="0" cap="flat">
            <a:noFill/>
            <a:prstDash val="solid"/>
            <a:round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V2_Helmet_Underline">
            <a:extLst>
              <a:ext uri="{FF2B5EF4-FFF2-40B4-BE49-F238E27FC236}">
                <a16:creationId xmlns:a16="http://schemas.microsoft.com/office/drawing/2014/main" id="{CAE99A58-4BF2-1782-163B-78B070A6D36E}"/>
              </a:ext>
            </a:extLst>
          </p:cNvPr>
          <p:cNvSpPr/>
          <p:nvPr/>
        </p:nvSpPr>
        <p:spPr>
          <a:xfrm>
            <a:off x="1495152" y="2129743"/>
            <a:ext cx="5201492" cy="289367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5" name="--V2_Helmet">
            <a:extLst>
              <a:ext uri="{FF2B5EF4-FFF2-40B4-BE49-F238E27FC236}">
                <a16:creationId xmlns:a16="http://schemas.microsoft.com/office/drawing/2014/main" id="{924BD9A2-9819-8144-DA08-BA395E18D730}"/>
              </a:ext>
            </a:extLst>
          </p:cNvPr>
          <p:cNvSpPr txBox="1"/>
          <p:nvPr/>
        </p:nvSpPr>
        <p:spPr>
          <a:xfrm>
            <a:off x="523327" y="1109807"/>
            <a:ext cx="6181500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8800" b="1" dirty="0">
                <a:solidFill>
                  <a:srgbClr val="EC4242"/>
                </a:solidFill>
                <a:latin typeface="Ubuntu" panose="020B0504030602030204" pitchFamily="34" charset="0"/>
              </a:rPr>
              <a:t>V2_Helmet</a:t>
            </a:r>
            <a:endParaRPr lang="en-US" sz="8800" b="1" dirty="0">
              <a:solidFill>
                <a:srgbClr val="EC4242"/>
              </a:solidFill>
              <a:latin typeface="Ubuntu" panose="020B0504030602030204" pitchFamily="34" charset="0"/>
            </a:endParaRPr>
          </a:p>
        </p:txBody>
      </p:sp>
      <p:pic>
        <p:nvPicPr>
          <p:cNvPr id="6" name="Picture 5" descr="A black and red helmet with red visor&#10;&#10;Description automatically generated">
            <a:extLst>
              <a:ext uri="{FF2B5EF4-FFF2-40B4-BE49-F238E27FC236}">
                <a16:creationId xmlns:a16="http://schemas.microsoft.com/office/drawing/2014/main" id="{72BC38D5-4238-7A96-62D7-AA5938DBDF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4827" y="1323138"/>
            <a:ext cx="5856952" cy="585695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37A53319-6424-2BA6-718D-B715329D6882}"/>
              </a:ext>
            </a:extLst>
          </p:cNvPr>
          <p:cNvGrpSpPr/>
          <p:nvPr/>
        </p:nvGrpSpPr>
        <p:grpSpPr>
          <a:xfrm>
            <a:off x="1373231" y="3131072"/>
            <a:ext cx="4206541" cy="523220"/>
            <a:chOff x="915852" y="4043391"/>
            <a:chExt cx="4206541" cy="52322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8C0C71E-FCAE-DBB5-80AB-356BACF5A6CD}"/>
                </a:ext>
              </a:extLst>
            </p:cNvPr>
            <p:cNvSpPr txBox="1"/>
            <p:nvPr/>
          </p:nvSpPr>
          <p:spPr>
            <a:xfrm>
              <a:off x="1342191" y="4043391"/>
              <a:ext cx="378020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2800" dirty="0">
                  <a:latin typeface="Ubuntu" panose="020B0504030602030204" pitchFamily="34" charset="0"/>
                </a:rPr>
                <a:t>Adjustable ventilation</a:t>
              </a:r>
              <a:endParaRPr lang="en-US" sz="2800" dirty="0">
                <a:latin typeface="Ubuntu" panose="020B0504030602030204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8CA4662E-535E-0609-2CAD-098BA8348B9A}"/>
                </a:ext>
              </a:extLst>
            </p:cNvPr>
            <p:cNvSpPr/>
            <p:nvPr/>
          </p:nvSpPr>
          <p:spPr>
            <a:xfrm>
              <a:off x="915852" y="4259579"/>
              <a:ext cx="182880" cy="182880"/>
            </a:xfrm>
            <a:prstGeom prst="roundRect">
              <a:avLst>
                <a:gd name="adj" fmla="val 23245"/>
              </a:avLst>
            </a:prstGeom>
            <a:solidFill>
              <a:srgbClr val="E6404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8F23929-24AA-47AA-0B4E-52BB6F768254}"/>
              </a:ext>
            </a:extLst>
          </p:cNvPr>
          <p:cNvGrpSpPr/>
          <p:nvPr/>
        </p:nvGrpSpPr>
        <p:grpSpPr>
          <a:xfrm>
            <a:off x="1373231" y="4939780"/>
            <a:ext cx="2754220" cy="523220"/>
            <a:chOff x="915852" y="5277488"/>
            <a:chExt cx="2754220" cy="52322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9CD9C36-3DC4-673D-A707-4A2044C44FDD}"/>
                </a:ext>
              </a:extLst>
            </p:cNvPr>
            <p:cNvSpPr txBox="1"/>
            <p:nvPr/>
          </p:nvSpPr>
          <p:spPr>
            <a:xfrm>
              <a:off x="1342191" y="5277488"/>
              <a:ext cx="232788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2800" dirty="0">
                  <a:latin typeface="Ubuntu" panose="020B0504030602030204" pitchFamily="34" charset="0"/>
                </a:rPr>
                <a:t>Durable shell</a:t>
              </a:r>
              <a:endParaRPr lang="en-US" sz="2800" dirty="0">
                <a:latin typeface="Ubuntu" panose="020B0504030602030204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DB511B73-FBF6-8572-61C3-B30AA56B7EDA}"/>
                </a:ext>
              </a:extLst>
            </p:cNvPr>
            <p:cNvSpPr/>
            <p:nvPr/>
          </p:nvSpPr>
          <p:spPr>
            <a:xfrm>
              <a:off x="915852" y="5493676"/>
              <a:ext cx="182880" cy="182880"/>
            </a:xfrm>
            <a:prstGeom prst="roundRect">
              <a:avLst>
                <a:gd name="adj" fmla="val 23245"/>
              </a:avLst>
            </a:prstGeom>
            <a:solidFill>
              <a:srgbClr val="E6404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4E911D4-709E-7909-5934-235980714F9D}"/>
              </a:ext>
            </a:extLst>
          </p:cNvPr>
          <p:cNvGrpSpPr/>
          <p:nvPr/>
        </p:nvGrpSpPr>
        <p:grpSpPr>
          <a:xfrm>
            <a:off x="1373231" y="4035426"/>
            <a:ext cx="3616636" cy="523220"/>
            <a:chOff x="915852" y="5277488"/>
            <a:chExt cx="3616636" cy="52322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343B144-AA7F-2E9C-A445-54C687BF9362}"/>
                </a:ext>
              </a:extLst>
            </p:cNvPr>
            <p:cNvSpPr txBox="1"/>
            <p:nvPr/>
          </p:nvSpPr>
          <p:spPr>
            <a:xfrm>
              <a:off x="1342191" y="5277488"/>
              <a:ext cx="319029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2800" dirty="0">
                  <a:latin typeface="Ubuntu" panose="020B0504030602030204" pitchFamily="34" charset="0"/>
                </a:rPr>
                <a:t>Multi-Impact foam</a:t>
              </a:r>
              <a:endParaRPr lang="en-US" sz="2800" dirty="0">
                <a:latin typeface="Ubuntu" panose="020B0504030602030204" pitchFamily="34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5DACC96-4CAA-2E8B-B088-0CE7CB9CBDC0}"/>
                </a:ext>
              </a:extLst>
            </p:cNvPr>
            <p:cNvSpPr/>
            <p:nvPr/>
          </p:nvSpPr>
          <p:spPr>
            <a:xfrm>
              <a:off x="915852" y="5493676"/>
              <a:ext cx="182880" cy="182880"/>
            </a:xfrm>
            <a:prstGeom prst="roundRect">
              <a:avLst>
                <a:gd name="adj" fmla="val 23245"/>
              </a:avLst>
            </a:prstGeom>
            <a:solidFill>
              <a:srgbClr val="E6404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9B5842B-B75F-D812-22C5-E422710D73C0}"/>
              </a:ext>
            </a:extLst>
          </p:cNvPr>
          <p:cNvSpPr/>
          <p:nvPr/>
        </p:nvSpPr>
        <p:spPr>
          <a:xfrm>
            <a:off x="9375290" y="467843"/>
            <a:ext cx="2183371" cy="249972"/>
          </a:xfrm>
          <a:prstGeom prst="roundRect">
            <a:avLst>
              <a:gd name="adj" fmla="val 50000"/>
            </a:avLst>
          </a:prstGeom>
          <a:solidFill>
            <a:srgbClr val="8C0E0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ADC9CE0-990E-6C03-B043-46E5D7C8AD39}"/>
              </a:ext>
            </a:extLst>
          </p:cNvPr>
          <p:cNvSpPr/>
          <p:nvPr/>
        </p:nvSpPr>
        <p:spPr>
          <a:xfrm>
            <a:off x="9434223" y="502162"/>
            <a:ext cx="1062328" cy="18133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----Underline">
            <a:extLst>
              <a:ext uri="{FF2B5EF4-FFF2-40B4-BE49-F238E27FC236}">
                <a16:creationId xmlns:a16="http://schemas.microsoft.com/office/drawing/2014/main" id="{6DFBA652-E458-9074-85AC-220E3807BAAD}"/>
              </a:ext>
            </a:extLst>
          </p:cNvPr>
          <p:cNvSpPr/>
          <p:nvPr/>
        </p:nvSpPr>
        <p:spPr>
          <a:xfrm>
            <a:off x="16161024" y="2403057"/>
            <a:ext cx="6130646" cy="350303"/>
          </a:xfrm>
          <a:prstGeom prst="roundRect">
            <a:avLst>
              <a:gd name="adj" fmla="val 50000"/>
            </a:avLst>
          </a:prstGeom>
          <a:solidFill>
            <a:srgbClr val="8C0E0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--Snboots_V3">
            <a:extLst>
              <a:ext uri="{FF2B5EF4-FFF2-40B4-BE49-F238E27FC236}">
                <a16:creationId xmlns:a16="http://schemas.microsoft.com/office/drawing/2014/main" id="{A12621FC-285E-6051-88C8-D20A5E641126}"/>
              </a:ext>
            </a:extLst>
          </p:cNvPr>
          <p:cNvSpPr txBox="1"/>
          <p:nvPr/>
        </p:nvSpPr>
        <p:spPr>
          <a:xfrm>
            <a:off x="15666137" y="1444742"/>
            <a:ext cx="6625532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8800" b="1" dirty="0">
                <a:solidFill>
                  <a:schemeClr val="bg1"/>
                </a:solidFill>
                <a:latin typeface="Ubuntu" panose="020B0504030602030204" pitchFamily="34" charset="0"/>
              </a:rPr>
              <a:t>Snboots_V3</a:t>
            </a:r>
            <a:endParaRPr lang="en-US" sz="8800" b="1" dirty="0">
              <a:solidFill>
                <a:schemeClr val="bg1"/>
              </a:solidFill>
              <a:latin typeface="Ubuntu" panose="020B0504030602030204" pitchFamily="34" charset="0"/>
            </a:endParaRPr>
          </a:p>
        </p:txBody>
      </p:sp>
      <p:pic>
        <p:nvPicPr>
          <p:cNvPr id="20" name="[PIC] Snboots" descr="A pair of camouflage boots&#10;&#10;Description automatically generated">
            <a:extLst>
              <a:ext uri="{FF2B5EF4-FFF2-40B4-BE49-F238E27FC236}">
                <a16:creationId xmlns:a16="http://schemas.microsoft.com/office/drawing/2014/main" id="{EB2DC7EE-E5D2-1E43-6CA6-684ABF31908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64293" y="467843"/>
            <a:ext cx="6242317" cy="6242317"/>
          </a:xfrm>
          <a:prstGeom prst="rect">
            <a:avLst/>
          </a:prstGeom>
        </p:spPr>
      </p:pic>
      <p:grpSp>
        <p:nvGrpSpPr>
          <p:cNvPr id="3" name="Be Ready">
            <a:extLst>
              <a:ext uri="{FF2B5EF4-FFF2-40B4-BE49-F238E27FC236}">
                <a16:creationId xmlns:a16="http://schemas.microsoft.com/office/drawing/2014/main" id="{208289C7-6BDC-9898-664D-946DBF1C3F88}"/>
              </a:ext>
            </a:extLst>
          </p:cNvPr>
          <p:cNvGrpSpPr/>
          <p:nvPr/>
        </p:nvGrpSpPr>
        <p:grpSpPr>
          <a:xfrm>
            <a:off x="6203506" y="6858000"/>
            <a:ext cx="3513188" cy="3180430"/>
            <a:chOff x="6203506" y="3711675"/>
            <a:chExt cx="3513188" cy="3180430"/>
          </a:xfrm>
        </p:grpSpPr>
        <p:sp>
          <p:nvSpPr>
            <p:cNvPr id="19" name="Rounded Corner graphic">
              <a:extLst>
                <a:ext uri="{FF2B5EF4-FFF2-40B4-BE49-F238E27FC236}">
                  <a16:creationId xmlns:a16="http://schemas.microsoft.com/office/drawing/2014/main" id="{F8A9BCB0-C63C-C81D-C86F-E6F6C484FE79}"/>
                </a:ext>
              </a:extLst>
            </p:cNvPr>
            <p:cNvSpPr/>
            <p:nvPr/>
          </p:nvSpPr>
          <p:spPr>
            <a:xfrm>
              <a:off x="6203506" y="3711675"/>
              <a:ext cx="3513188" cy="3180430"/>
            </a:xfrm>
            <a:custGeom>
              <a:avLst/>
              <a:gdLst>
                <a:gd name="connsiteX0" fmla="*/ 1035252 w 4617233"/>
                <a:gd name="connsiteY0" fmla="*/ 56 h 4551410"/>
                <a:gd name="connsiteX1" fmla="*/ 4560183 w 4617233"/>
                <a:gd name="connsiteY1" fmla="*/ 56 h 4551410"/>
                <a:gd name="connsiteX2" fmla="*/ 4617351 w 4617233"/>
                <a:gd name="connsiteY2" fmla="*/ 57224 h 4551410"/>
                <a:gd name="connsiteX3" fmla="*/ 4617351 w 4617233"/>
                <a:gd name="connsiteY3" fmla="*/ 4494299 h 4551410"/>
                <a:gd name="connsiteX4" fmla="*/ 4560183 w 4617233"/>
                <a:gd name="connsiteY4" fmla="*/ 4551467 h 4551410"/>
                <a:gd name="connsiteX5" fmla="*/ 57268 w 4617233"/>
                <a:gd name="connsiteY5" fmla="*/ 4551467 h 4551410"/>
                <a:gd name="connsiteX6" fmla="*/ 118 w 4617233"/>
                <a:gd name="connsiteY6" fmla="*/ 4494299 h 4551410"/>
                <a:gd name="connsiteX7" fmla="*/ 118 w 4617233"/>
                <a:gd name="connsiteY7" fmla="*/ 1035200 h 4551410"/>
                <a:gd name="connsiteX8" fmla="*/ 1035252 w 4617233"/>
                <a:gd name="connsiteY8" fmla="*/ 56 h 4551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17233" h="4551410">
                  <a:moveTo>
                    <a:pt x="1035252" y="56"/>
                  </a:moveTo>
                  <a:lnTo>
                    <a:pt x="4560183" y="56"/>
                  </a:lnTo>
                  <a:cubicBezTo>
                    <a:pt x="4591755" y="56"/>
                    <a:pt x="4617351" y="25652"/>
                    <a:pt x="4617351" y="57224"/>
                  </a:cubicBezTo>
                  <a:lnTo>
                    <a:pt x="4617351" y="4494299"/>
                  </a:lnTo>
                  <a:cubicBezTo>
                    <a:pt x="4617351" y="4525871"/>
                    <a:pt x="4591755" y="4551467"/>
                    <a:pt x="4560183" y="4551467"/>
                  </a:cubicBezTo>
                  <a:lnTo>
                    <a:pt x="57268" y="4551467"/>
                  </a:lnTo>
                  <a:cubicBezTo>
                    <a:pt x="25703" y="4551467"/>
                    <a:pt x="118" y="4525871"/>
                    <a:pt x="118" y="4494299"/>
                  </a:cubicBezTo>
                  <a:lnTo>
                    <a:pt x="118" y="1035200"/>
                  </a:lnTo>
                  <a:cubicBezTo>
                    <a:pt x="118" y="463520"/>
                    <a:pt x="463564" y="56"/>
                    <a:pt x="1035252" y="56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--Rdy">
              <a:extLst>
                <a:ext uri="{FF2B5EF4-FFF2-40B4-BE49-F238E27FC236}">
                  <a16:creationId xmlns:a16="http://schemas.microsoft.com/office/drawing/2014/main" id="{165697E1-3AD9-1333-A28F-CAB78D2057B5}"/>
                </a:ext>
              </a:extLst>
            </p:cNvPr>
            <p:cNvSpPr txBox="1"/>
            <p:nvPr/>
          </p:nvSpPr>
          <p:spPr>
            <a:xfrm>
              <a:off x="6692346" y="4069010"/>
              <a:ext cx="2638864" cy="23083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4800" dirty="0">
                  <a:solidFill>
                    <a:srgbClr val="E64040"/>
                  </a:solidFill>
                  <a:latin typeface="Ubuntu" panose="020B0504030602030204" pitchFamily="34" charset="0"/>
                </a:rPr>
                <a:t>Be ready</a:t>
              </a:r>
            </a:p>
            <a:p>
              <a:r>
                <a:rPr lang="pl-PL" sz="4800" dirty="0">
                  <a:solidFill>
                    <a:srgbClr val="E64040"/>
                  </a:solidFill>
                  <a:latin typeface="Ubuntu" panose="020B0504030602030204" pitchFamily="34" charset="0"/>
                </a:rPr>
                <a:t>For the</a:t>
              </a:r>
            </a:p>
            <a:p>
              <a:r>
                <a:rPr lang="pl-PL" sz="4800" dirty="0">
                  <a:solidFill>
                    <a:srgbClr val="E64040"/>
                  </a:solidFill>
                  <a:latin typeface="Ubuntu" panose="020B0504030602030204" pitchFamily="34" charset="0"/>
                </a:rPr>
                <a:t>Ride .</a:t>
              </a:r>
              <a:endParaRPr lang="en-US" sz="4800" dirty="0">
                <a:solidFill>
                  <a:srgbClr val="E64040"/>
                </a:solidFill>
                <a:latin typeface="Ubuntu" panose="020B050403060203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9907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0.7294 L -4.16667E-6 2.59259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6481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" presetClass="entr" presetSubtype="8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42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Corner graphic">
            <a:extLst>
              <a:ext uri="{FF2B5EF4-FFF2-40B4-BE49-F238E27FC236}">
                <a16:creationId xmlns:a16="http://schemas.microsoft.com/office/drawing/2014/main" id="{4FACF0E8-257A-8637-3926-19A81E4DDAE0}"/>
              </a:ext>
            </a:extLst>
          </p:cNvPr>
          <p:cNvSpPr/>
          <p:nvPr/>
        </p:nvSpPr>
        <p:spPr>
          <a:xfrm>
            <a:off x="7074607" y="6892105"/>
            <a:ext cx="5117393" cy="5044440"/>
          </a:xfrm>
          <a:custGeom>
            <a:avLst/>
            <a:gdLst>
              <a:gd name="connsiteX0" fmla="*/ 1035252 w 4617233"/>
              <a:gd name="connsiteY0" fmla="*/ 56 h 4551410"/>
              <a:gd name="connsiteX1" fmla="*/ 4560183 w 4617233"/>
              <a:gd name="connsiteY1" fmla="*/ 56 h 4551410"/>
              <a:gd name="connsiteX2" fmla="*/ 4617351 w 4617233"/>
              <a:gd name="connsiteY2" fmla="*/ 57224 h 4551410"/>
              <a:gd name="connsiteX3" fmla="*/ 4617351 w 4617233"/>
              <a:gd name="connsiteY3" fmla="*/ 4494299 h 4551410"/>
              <a:gd name="connsiteX4" fmla="*/ 4560183 w 4617233"/>
              <a:gd name="connsiteY4" fmla="*/ 4551467 h 4551410"/>
              <a:gd name="connsiteX5" fmla="*/ 57268 w 4617233"/>
              <a:gd name="connsiteY5" fmla="*/ 4551467 h 4551410"/>
              <a:gd name="connsiteX6" fmla="*/ 118 w 4617233"/>
              <a:gd name="connsiteY6" fmla="*/ 4494299 h 4551410"/>
              <a:gd name="connsiteX7" fmla="*/ 118 w 4617233"/>
              <a:gd name="connsiteY7" fmla="*/ 1035200 h 4551410"/>
              <a:gd name="connsiteX8" fmla="*/ 1035252 w 4617233"/>
              <a:gd name="connsiteY8" fmla="*/ 56 h 4551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7233" h="4551410">
                <a:moveTo>
                  <a:pt x="1035252" y="56"/>
                </a:moveTo>
                <a:lnTo>
                  <a:pt x="4560183" y="56"/>
                </a:lnTo>
                <a:cubicBezTo>
                  <a:pt x="4591755" y="56"/>
                  <a:pt x="4617351" y="25652"/>
                  <a:pt x="4617351" y="57224"/>
                </a:cubicBezTo>
                <a:lnTo>
                  <a:pt x="4617351" y="4494299"/>
                </a:lnTo>
                <a:cubicBezTo>
                  <a:pt x="4617351" y="4525871"/>
                  <a:pt x="4591755" y="4551467"/>
                  <a:pt x="4560183" y="4551467"/>
                </a:cubicBezTo>
                <a:lnTo>
                  <a:pt x="57268" y="4551467"/>
                </a:lnTo>
                <a:cubicBezTo>
                  <a:pt x="25703" y="4551467"/>
                  <a:pt x="118" y="4525871"/>
                  <a:pt x="118" y="4494299"/>
                </a:cubicBezTo>
                <a:lnTo>
                  <a:pt x="118" y="1035200"/>
                </a:lnTo>
                <a:cubicBezTo>
                  <a:pt x="118" y="463520"/>
                  <a:pt x="463564" y="56"/>
                  <a:pt x="1035252" y="56"/>
                </a:cubicBezTo>
                <a:close/>
              </a:path>
            </a:pathLst>
          </a:custGeom>
          <a:solidFill>
            <a:srgbClr val="EC4242"/>
          </a:solidFill>
          <a:ln w="0" cap="flat">
            <a:noFill/>
            <a:prstDash val="solid"/>
            <a:round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V2_Helmet_Underline">
            <a:extLst>
              <a:ext uri="{FF2B5EF4-FFF2-40B4-BE49-F238E27FC236}">
                <a16:creationId xmlns:a16="http://schemas.microsoft.com/office/drawing/2014/main" id="{0B4CCF30-CAFA-4AB4-D280-65CFFCCBE936}"/>
              </a:ext>
            </a:extLst>
          </p:cNvPr>
          <p:cNvSpPr/>
          <p:nvPr/>
        </p:nvSpPr>
        <p:spPr>
          <a:xfrm>
            <a:off x="-12186926" y="2129743"/>
            <a:ext cx="5923375" cy="289367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5" name="--V2_Helmet">
            <a:extLst>
              <a:ext uri="{FF2B5EF4-FFF2-40B4-BE49-F238E27FC236}">
                <a16:creationId xmlns:a16="http://schemas.microsoft.com/office/drawing/2014/main" id="{924BD9A2-9819-8144-DA08-BA395E18D730}"/>
              </a:ext>
            </a:extLst>
          </p:cNvPr>
          <p:cNvSpPr txBox="1"/>
          <p:nvPr/>
        </p:nvSpPr>
        <p:spPr>
          <a:xfrm>
            <a:off x="-12186925" y="936187"/>
            <a:ext cx="6181500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8800" b="1" dirty="0">
                <a:solidFill>
                  <a:schemeClr val="bg1">
                    <a:lumMod val="75000"/>
                    <a:alpha val="35000"/>
                  </a:schemeClr>
                </a:solidFill>
                <a:latin typeface="Ubuntu" panose="020B0504030602030204" pitchFamily="34" charset="0"/>
              </a:rPr>
              <a:t>V2_Helmet</a:t>
            </a:r>
            <a:endParaRPr lang="en-US" sz="8800" b="1" dirty="0">
              <a:solidFill>
                <a:schemeClr val="bg1">
                  <a:lumMod val="75000"/>
                  <a:alpha val="35000"/>
                </a:schemeClr>
              </a:solidFill>
              <a:latin typeface="Ubuntu" panose="020B0504030602030204" pitchFamily="34" charset="0"/>
            </a:endParaRPr>
          </a:p>
        </p:txBody>
      </p:sp>
      <p:pic>
        <p:nvPicPr>
          <p:cNvPr id="6" name="Picture 5" descr="A black and red helmet with red visor&#10;&#10;Description automatically generated">
            <a:extLst>
              <a:ext uri="{FF2B5EF4-FFF2-40B4-BE49-F238E27FC236}">
                <a16:creationId xmlns:a16="http://schemas.microsoft.com/office/drawing/2014/main" id="{72BC38D5-4238-7A96-62D7-AA5938DBDF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761966" y="1307582"/>
            <a:ext cx="5856952" cy="585695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37A53319-6424-2BA6-718D-B715329D6882}"/>
              </a:ext>
            </a:extLst>
          </p:cNvPr>
          <p:cNvGrpSpPr/>
          <p:nvPr/>
        </p:nvGrpSpPr>
        <p:grpSpPr>
          <a:xfrm>
            <a:off x="-12763402" y="3131072"/>
            <a:ext cx="4206541" cy="523220"/>
            <a:chOff x="915852" y="4043391"/>
            <a:chExt cx="4206541" cy="52322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8C0C71E-FCAE-DBB5-80AB-356BACF5A6CD}"/>
                </a:ext>
              </a:extLst>
            </p:cNvPr>
            <p:cNvSpPr txBox="1"/>
            <p:nvPr/>
          </p:nvSpPr>
          <p:spPr>
            <a:xfrm>
              <a:off x="1342191" y="4043391"/>
              <a:ext cx="378020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2800" dirty="0">
                  <a:latin typeface="Ubuntu" panose="020B0504030602030204" pitchFamily="34" charset="0"/>
                </a:rPr>
                <a:t>Adjustable ventilation</a:t>
              </a:r>
              <a:endParaRPr lang="en-US" sz="2800" dirty="0">
                <a:latin typeface="Ubuntu" panose="020B0504030602030204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8CA4662E-535E-0609-2CAD-098BA8348B9A}"/>
                </a:ext>
              </a:extLst>
            </p:cNvPr>
            <p:cNvSpPr/>
            <p:nvPr/>
          </p:nvSpPr>
          <p:spPr>
            <a:xfrm>
              <a:off x="915852" y="4259579"/>
              <a:ext cx="182880" cy="182880"/>
            </a:xfrm>
            <a:prstGeom prst="roundRect">
              <a:avLst>
                <a:gd name="adj" fmla="val 23245"/>
              </a:avLst>
            </a:prstGeom>
            <a:solidFill>
              <a:srgbClr val="E6404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8F23929-24AA-47AA-0B4E-52BB6F768254}"/>
              </a:ext>
            </a:extLst>
          </p:cNvPr>
          <p:cNvGrpSpPr/>
          <p:nvPr/>
        </p:nvGrpSpPr>
        <p:grpSpPr>
          <a:xfrm>
            <a:off x="-9933971" y="4939780"/>
            <a:ext cx="2754220" cy="523220"/>
            <a:chOff x="915852" y="5277488"/>
            <a:chExt cx="2754220" cy="52322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9CD9C36-3DC4-673D-A707-4A2044C44FDD}"/>
                </a:ext>
              </a:extLst>
            </p:cNvPr>
            <p:cNvSpPr txBox="1"/>
            <p:nvPr/>
          </p:nvSpPr>
          <p:spPr>
            <a:xfrm>
              <a:off x="1342191" y="5277488"/>
              <a:ext cx="232788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2800" dirty="0">
                  <a:latin typeface="Ubuntu" panose="020B0504030602030204" pitchFamily="34" charset="0"/>
                </a:rPr>
                <a:t>Durable shell</a:t>
              </a:r>
              <a:endParaRPr lang="en-US" sz="2800" dirty="0">
                <a:latin typeface="Ubuntu" panose="020B0504030602030204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DB511B73-FBF6-8572-61C3-B30AA56B7EDA}"/>
                </a:ext>
              </a:extLst>
            </p:cNvPr>
            <p:cNvSpPr/>
            <p:nvPr/>
          </p:nvSpPr>
          <p:spPr>
            <a:xfrm>
              <a:off x="915852" y="5493676"/>
              <a:ext cx="182880" cy="182880"/>
            </a:xfrm>
            <a:prstGeom prst="roundRect">
              <a:avLst>
                <a:gd name="adj" fmla="val 23245"/>
              </a:avLst>
            </a:prstGeom>
            <a:solidFill>
              <a:srgbClr val="E6404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4E911D4-709E-7909-5934-235980714F9D}"/>
              </a:ext>
            </a:extLst>
          </p:cNvPr>
          <p:cNvGrpSpPr/>
          <p:nvPr/>
        </p:nvGrpSpPr>
        <p:grpSpPr>
          <a:xfrm>
            <a:off x="-11522547" y="4035426"/>
            <a:ext cx="3616636" cy="523220"/>
            <a:chOff x="915852" y="5277488"/>
            <a:chExt cx="3616636" cy="52322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343B144-AA7F-2E9C-A445-54C687BF9362}"/>
                </a:ext>
              </a:extLst>
            </p:cNvPr>
            <p:cNvSpPr txBox="1"/>
            <p:nvPr/>
          </p:nvSpPr>
          <p:spPr>
            <a:xfrm>
              <a:off x="1342191" y="5277488"/>
              <a:ext cx="319029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2800" dirty="0">
                  <a:latin typeface="Ubuntu" panose="020B0504030602030204" pitchFamily="34" charset="0"/>
                </a:rPr>
                <a:t>Multi-Impact foam</a:t>
              </a:r>
              <a:endParaRPr lang="en-US" sz="2800" dirty="0">
                <a:latin typeface="Ubuntu" panose="020B0504030602030204" pitchFamily="34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5DACC96-4CAA-2E8B-B088-0CE7CB9CBDC0}"/>
                </a:ext>
              </a:extLst>
            </p:cNvPr>
            <p:cNvSpPr/>
            <p:nvPr/>
          </p:nvSpPr>
          <p:spPr>
            <a:xfrm>
              <a:off x="915852" y="5493676"/>
              <a:ext cx="182880" cy="182880"/>
            </a:xfrm>
            <a:prstGeom prst="roundRect">
              <a:avLst>
                <a:gd name="adj" fmla="val 23245"/>
              </a:avLst>
            </a:prstGeom>
            <a:solidFill>
              <a:srgbClr val="E6404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9B5842B-B75F-D812-22C5-E422710D73C0}"/>
              </a:ext>
            </a:extLst>
          </p:cNvPr>
          <p:cNvSpPr/>
          <p:nvPr/>
        </p:nvSpPr>
        <p:spPr>
          <a:xfrm>
            <a:off x="9375290" y="467843"/>
            <a:ext cx="2183371" cy="249972"/>
          </a:xfrm>
          <a:prstGeom prst="roundRect">
            <a:avLst>
              <a:gd name="adj" fmla="val 50000"/>
            </a:avLst>
          </a:prstGeom>
          <a:solidFill>
            <a:srgbClr val="8C0E0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ADC9CE0-990E-6C03-B043-46E5D7C8AD39}"/>
              </a:ext>
            </a:extLst>
          </p:cNvPr>
          <p:cNvSpPr/>
          <p:nvPr/>
        </p:nvSpPr>
        <p:spPr>
          <a:xfrm>
            <a:off x="10429647" y="502162"/>
            <a:ext cx="1062328" cy="18133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----Underline">
            <a:extLst>
              <a:ext uri="{FF2B5EF4-FFF2-40B4-BE49-F238E27FC236}">
                <a16:creationId xmlns:a16="http://schemas.microsoft.com/office/drawing/2014/main" id="{9EFCD8E4-2A57-7A09-F19F-785F36F03CDE}"/>
              </a:ext>
            </a:extLst>
          </p:cNvPr>
          <p:cNvSpPr/>
          <p:nvPr/>
        </p:nvSpPr>
        <p:spPr>
          <a:xfrm>
            <a:off x="4987095" y="2403057"/>
            <a:ext cx="6130646" cy="350303"/>
          </a:xfrm>
          <a:prstGeom prst="roundRect">
            <a:avLst>
              <a:gd name="adj" fmla="val 50000"/>
            </a:avLst>
          </a:prstGeom>
          <a:solidFill>
            <a:srgbClr val="8C0E0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--Snboots_V3">
            <a:extLst>
              <a:ext uri="{FF2B5EF4-FFF2-40B4-BE49-F238E27FC236}">
                <a16:creationId xmlns:a16="http://schemas.microsoft.com/office/drawing/2014/main" id="{B02E7979-D1E5-C662-2E20-1323C7AF691A}"/>
              </a:ext>
            </a:extLst>
          </p:cNvPr>
          <p:cNvSpPr txBox="1"/>
          <p:nvPr/>
        </p:nvSpPr>
        <p:spPr>
          <a:xfrm>
            <a:off x="4492208" y="1444742"/>
            <a:ext cx="6625532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8800" b="1" dirty="0">
                <a:solidFill>
                  <a:schemeClr val="bg1"/>
                </a:solidFill>
                <a:latin typeface="Ubuntu" panose="020B0504030602030204" pitchFamily="34" charset="0"/>
              </a:rPr>
              <a:t>Snboots_V3</a:t>
            </a:r>
            <a:endParaRPr lang="en-US" sz="8800" b="1" dirty="0">
              <a:solidFill>
                <a:schemeClr val="bg1"/>
              </a:solidFill>
              <a:latin typeface="Ubuntu" panose="020B0504030602030204" pitchFamily="34" charset="0"/>
            </a:endParaRPr>
          </a:p>
        </p:txBody>
      </p:sp>
      <p:pic>
        <p:nvPicPr>
          <p:cNvPr id="18" name="[PIC] Snboots" descr="A pair of camouflage boots&#10;&#10;Description automatically generated">
            <a:extLst>
              <a:ext uri="{FF2B5EF4-FFF2-40B4-BE49-F238E27FC236}">
                <a16:creationId xmlns:a16="http://schemas.microsoft.com/office/drawing/2014/main" id="{B8282834-7C80-4943-6C2C-AA0D2A9D34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8877" y="-641053"/>
            <a:ext cx="6242317" cy="6242317"/>
          </a:xfrm>
          <a:prstGeom prst="rect">
            <a:avLst/>
          </a:prstGeom>
        </p:spPr>
      </p:pic>
      <p:grpSp>
        <p:nvGrpSpPr>
          <p:cNvPr id="23" name="Be Ready">
            <a:extLst>
              <a:ext uri="{FF2B5EF4-FFF2-40B4-BE49-F238E27FC236}">
                <a16:creationId xmlns:a16="http://schemas.microsoft.com/office/drawing/2014/main" id="{2E51153A-73D9-6DB3-B889-AFB4779BA801}"/>
              </a:ext>
            </a:extLst>
          </p:cNvPr>
          <p:cNvGrpSpPr/>
          <p:nvPr/>
        </p:nvGrpSpPr>
        <p:grpSpPr>
          <a:xfrm>
            <a:off x="6203506" y="3711675"/>
            <a:ext cx="3513188" cy="3180430"/>
            <a:chOff x="6203506" y="3711675"/>
            <a:chExt cx="3513188" cy="3180430"/>
          </a:xfrm>
        </p:grpSpPr>
        <p:sp>
          <p:nvSpPr>
            <p:cNvPr id="26" name="Rounded Corner graphic">
              <a:extLst>
                <a:ext uri="{FF2B5EF4-FFF2-40B4-BE49-F238E27FC236}">
                  <a16:creationId xmlns:a16="http://schemas.microsoft.com/office/drawing/2014/main" id="{A012CD1B-4A01-56FD-B4FF-8CFC6E4DC876}"/>
                </a:ext>
              </a:extLst>
            </p:cNvPr>
            <p:cNvSpPr/>
            <p:nvPr/>
          </p:nvSpPr>
          <p:spPr>
            <a:xfrm>
              <a:off x="6203506" y="3711675"/>
              <a:ext cx="3513188" cy="3180430"/>
            </a:xfrm>
            <a:custGeom>
              <a:avLst/>
              <a:gdLst>
                <a:gd name="connsiteX0" fmla="*/ 1035252 w 4617233"/>
                <a:gd name="connsiteY0" fmla="*/ 56 h 4551410"/>
                <a:gd name="connsiteX1" fmla="*/ 4560183 w 4617233"/>
                <a:gd name="connsiteY1" fmla="*/ 56 h 4551410"/>
                <a:gd name="connsiteX2" fmla="*/ 4617351 w 4617233"/>
                <a:gd name="connsiteY2" fmla="*/ 57224 h 4551410"/>
                <a:gd name="connsiteX3" fmla="*/ 4617351 w 4617233"/>
                <a:gd name="connsiteY3" fmla="*/ 4494299 h 4551410"/>
                <a:gd name="connsiteX4" fmla="*/ 4560183 w 4617233"/>
                <a:gd name="connsiteY4" fmla="*/ 4551467 h 4551410"/>
                <a:gd name="connsiteX5" fmla="*/ 57268 w 4617233"/>
                <a:gd name="connsiteY5" fmla="*/ 4551467 h 4551410"/>
                <a:gd name="connsiteX6" fmla="*/ 118 w 4617233"/>
                <a:gd name="connsiteY6" fmla="*/ 4494299 h 4551410"/>
                <a:gd name="connsiteX7" fmla="*/ 118 w 4617233"/>
                <a:gd name="connsiteY7" fmla="*/ 1035200 h 4551410"/>
                <a:gd name="connsiteX8" fmla="*/ 1035252 w 4617233"/>
                <a:gd name="connsiteY8" fmla="*/ 56 h 4551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17233" h="4551410">
                  <a:moveTo>
                    <a:pt x="1035252" y="56"/>
                  </a:moveTo>
                  <a:lnTo>
                    <a:pt x="4560183" y="56"/>
                  </a:lnTo>
                  <a:cubicBezTo>
                    <a:pt x="4591755" y="56"/>
                    <a:pt x="4617351" y="25652"/>
                    <a:pt x="4617351" y="57224"/>
                  </a:cubicBezTo>
                  <a:lnTo>
                    <a:pt x="4617351" y="4494299"/>
                  </a:lnTo>
                  <a:cubicBezTo>
                    <a:pt x="4617351" y="4525871"/>
                    <a:pt x="4591755" y="4551467"/>
                    <a:pt x="4560183" y="4551467"/>
                  </a:cubicBezTo>
                  <a:lnTo>
                    <a:pt x="57268" y="4551467"/>
                  </a:lnTo>
                  <a:cubicBezTo>
                    <a:pt x="25703" y="4551467"/>
                    <a:pt x="118" y="4525871"/>
                    <a:pt x="118" y="4494299"/>
                  </a:cubicBezTo>
                  <a:lnTo>
                    <a:pt x="118" y="1035200"/>
                  </a:lnTo>
                  <a:cubicBezTo>
                    <a:pt x="118" y="463520"/>
                    <a:pt x="463564" y="56"/>
                    <a:pt x="1035252" y="56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--Rdy">
              <a:extLst>
                <a:ext uri="{FF2B5EF4-FFF2-40B4-BE49-F238E27FC236}">
                  <a16:creationId xmlns:a16="http://schemas.microsoft.com/office/drawing/2014/main" id="{0328E8B9-6DC1-1201-5CB2-FEA4C4E9E857}"/>
                </a:ext>
              </a:extLst>
            </p:cNvPr>
            <p:cNvSpPr txBox="1"/>
            <p:nvPr/>
          </p:nvSpPr>
          <p:spPr>
            <a:xfrm>
              <a:off x="6692346" y="4069010"/>
              <a:ext cx="2638864" cy="23083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4800" dirty="0">
                  <a:solidFill>
                    <a:srgbClr val="E64040"/>
                  </a:solidFill>
                  <a:latin typeface="Ubuntu" panose="020B0504030602030204" pitchFamily="34" charset="0"/>
                </a:rPr>
                <a:t>Be ready</a:t>
              </a:r>
            </a:p>
            <a:p>
              <a:r>
                <a:rPr lang="pl-PL" sz="4800" dirty="0">
                  <a:solidFill>
                    <a:srgbClr val="E64040"/>
                  </a:solidFill>
                  <a:latin typeface="Ubuntu" panose="020B0504030602030204" pitchFamily="34" charset="0"/>
                </a:rPr>
                <a:t>For the</a:t>
              </a:r>
            </a:p>
            <a:p>
              <a:r>
                <a:rPr lang="pl-PL" sz="4800" dirty="0">
                  <a:solidFill>
                    <a:srgbClr val="E64040"/>
                  </a:solidFill>
                  <a:latin typeface="Ubuntu" panose="020B0504030602030204" pitchFamily="34" charset="0"/>
                </a:rPr>
                <a:t>Ride .</a:t>
              </a:r>
              <a:endParaRPr lang="en-US" sz="4800" dirty="0">
                <a:solidFill>
                  <a:srgbClr val="E64040"/>
                </a:solidFill>
                <a:latin typeface="Ubuntu" panose="020B050403060203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258913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air of camouflage boots&#10;&#10;Description automatically generated">
            <a:extLst>
              <a:ext uri="{FF2B5EF4-FFF2-40B4-BE49-F238E27FC236}">
                <a16:creationId xmlns:a16="http://schemas.microsoft.com/office/drawing/2014/main" id="{69959115-99F4-63A2-FCB8-EE2BF95712F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1891" y="0"/>
            <a:ext cx="6242317" cy="6242317"/>
          </a:xfrm>
          <a:prstGeom prst="rect">
            <a:avLst/>
          </a:prstGeom>
        </p:spPr>
      </p:pic>
      <p:pic>
        <p:nvPicPr>
          <p:cNvPr id="7" name="Picture 6" descr="A black and red helmet with red visor&#10;&#10;Description automatically generated">
            <a:extLst>
              <a:ext uri="{FF2B5EF4-FFF2-40B4-BE49-F238E27FC236}">
                <a16:creationId xmlns:a16="http://schemas.microsoft.com/office/drawing/2014/main" id="{6109EC69-D5EC-3DD4-BEBF-7002EB7D62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70" y="500524"/>
            <a:ext cx="5856952" cy="5856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696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217074"/>
      </a:accent1>
      <a:accent2>
        <a:srgbClr val="37745B"/>
      </a:accent2>
      <a:accent3>
        <a:srgbClr val="8B9D77"/>
      </a:accent3>
      <a:accent4>
        <a:srgbClr val="E7EAEF"/>
      </a:accent4>
      <a:accent5>
        <a:srgbClr val="EDC5AB"/>
      </a:accent5>
      <a:accent6>
        <a:srgbClr val="B8D1D1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5EC4FAED17FD4FA002B715A7CB3129" ma:contentTypeVersion="19" ma:contentTypeDescription="Create a new document." ma:contentTypeScope="" ma:versionID="0f295b4eaac5758ed5fac4959b75d881">
  <xsd:schema xmlns:xsd="http://www.w3.org/2001/XMLSchema" xmlns:xs="http://www.w3.org/2001/XMLSchema" xmlns:p="http://schemas.microsoft.com/office/2006/metadata/properties" xmlns:ns2="92e4be8c-5aca-45ec-8e17-deab1f90d7c8" xmlns:ns3="92b31412-8c8f-44f1-a883-141cef3f34cc" targetNamespace="http://schemas.microsoft.com/office/2006/metadata/properties" ma:root="true" ma:fieldsID="57dd884e41ecc57e715e77a3a1c4b2cc" ns2:_="" ns3:_="">
    <xsd:import namespace="92e4be8c-5aca-45ec-8e17-deab1f90d7c8"/>
    <xsd:import namespace="92b31412-8c8f-44f1-a883-141cef3f34c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Duration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e4be8c-5aca-45ec-8e17-deab1f90d7c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d795d2f5-1cbf-45cb-9409-0dc909a94953}" ma:internalName="TaxCatchAll" ma:showField="CatchAllData" ma:web="92e4be8c-5aca-45ec-8e17-deab1f90d7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b31412-8c8f-44f1-a883-141cef3f34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Duration" ma:index="19" nillable="true" ma:displayName="Duration" ma:internalName="Duration">
      <xsd:simpleType>
        <xsd:restriction base="dms:Text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c4206cbd-ed67-49c0-b8a0-af32ee4f26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b31412-8c8f-44f1-a883-141cef3f34cc">
      <Terms xmlns="http://schemas.microsoft.com/office/infopath/2007/PartnerControls"/>
    </lcf76f155ced4ddcb4097134ff3c332f>
    <TaxCatchAll xmlns="92e4be8c-5aca-45ec-8e17-deab1f90d7c8" xsi:nil="true"/>
    <Duration xmlns="92b31412-8c8f-44f1-a883-141cef3f34cc" xsi:nil="true"/>
  </documentManagement>
</p:properties>
</file>

<file path=customXml/itemProps1.xml><?xml version="1.0" encoding="utf-8"?>
<ds:datastoreItem xmlns:ds="http://schemas.openxmlformats.org/officeDocument/2006/customXml" ds:itemID="{F90A090F-916A-43CF-8957-DA2D529D8C3C}"/>
</file>

<file path=customXml/itemProps2.xml><?xml version="1.0" encoding="utf-8"?>
<ds:datastoreItem xmlns:ds="http://schemas.openxmlformats.org/officeDocument/2006/customXml" ds:itemID="{C083FF77-F6FF-4976-B589-12B068F2776B}"/>
</file>

<file path=customXml/itemProps3.xml><?xml version="1.0" encoding="utf-8"?>
<ds:datastoreItem xmlns:ds="http://schemas.openxmlformats.org/officeDocument/2006/customXml" ds:itemID="{CCA2CBDA-9B8A-43C6-94B4-959AD70A3BC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</TotalTime>
  <Words>42</Words>
  <Application>Microsoft Office PowerPoint</Application>
  <PresentationFormat>Widescreen</PresentationFormat>
  <Paragraphs>19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 Light</vt:lpstr>
      <vt:lpstr>Calibri</vt:lpstr>
      <vt:lpstr>Ubuntu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P</dc:creator>
  <cp:lastModifiedBy>Andrew P</cp:lastModifiedBy>
  <cp:revision>21</cp:revision>
  <dcterms:created xsi:type="dcterms:W3CDTF">2024-01-16T09:41:45Z</dcterms:created>
  <dcterms:modified xsi:type="dcterms:W3CDTF">2024-01-31T10:2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5EC4FAED17FD4FA002B715A7CB3129</vt:lpwstr>
  </property>
</Properties>
</file>